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56" r:id="rId5"/>
    <p:sldId id="4848" r:id="rId6"/>
    <p:sldId id="2147375597" r:id="rId7"/>
    <p:sldId id="2147375600" r:id="rId8"/>
    <p:sldId id="2147375601" r:id="rId9"/>
    <p:sldId id="1633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2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vni Tong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29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Business Analysi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Business analysis involves identifying business needs and determining solutions to business problems. It includes understanding processes, systems, and organizational structures to improve efficiency and effectiveness.</a:t>
            </a:r>
            <a:endParaRPr lang="en-US" dirty="0"/>
          </a:p>
          <a:p>
            <a:r>
              <a:rPr lang="en-GB" dirty="0"/>
              <a:t>The key learning is that thorough business analysis helps in making informed decisions, optimizing processes, and achieving strategic goals.</a:t>
            </a:r>
          </a:p>
          <a:p>
            <a:r>
              <a:rPr lang="en-GB" dirty="0"/>
              <a:t>Effective business analysis leads to better decision-making and improved business performance.</a:t>
            </a:r>
            <a:r>
              <a:rPr lang="en-US" dirty="0"/>
              <a:t>How do I personally see this concept implemented in the Energy sector</a:t>
            </a:r>
          </a:p>
          <a:p>
            <a:r>
              <a:rPr lang="en-GB" dirty="0"/>
              <a:t>In the Energy sector, business analysis is crucial for optimizing operations, reducing costs, and ensuring sustainable practices.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Tree swing, Project management, Software projects">
            <a:extLst>
              <a:ext uri="{FF2B5EF4-FFF2-40B4-BE49-F238E27FC236}">
                <a16:creationId xmlns:a16="http://schemas.microsoft.com/office/drawing/2014/main" id="{619F8C72-7368-D6DB-96B5-BE4F43752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746" y="2276015"/>
            <a:ext cx="5102811" cy="3246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SCRUM 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+mj-lt"/>
              </a:rPr>
              <a:t>Scrum is an agile framework used for managing and completing complex projects. It emphasizes iterative progress, collaboration, and flexibility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+mj-lt"/>
              </a:rPr>
              <a:t>Key </a:t>
            </a:r>
            <a:r>
              <a:rPr lang="en-GB" sz="1600" b="1" i="0" dirty="0" err="1">
                <a:solidFill>
                  <a:srgbClr val="111111"/>
                </a:solidFill>
                <a:effectLst/>
                <a:latin typeface="+mj-lt"/>
              </a:rPr>
              <a:t>Learning:</a:t>
            </a:r>
            <a:r>
              <a:rPr lang="en-GB" sz="1600" b="0" i="0" dirty="0" err="1">
                <a:solidFill>
                  <a:srgbClr val="111111"/>
                </a:solidFill>
                <a:effectLst/>
                <a:latin typeface="+mj-lt"/>
              </a:rPr>
              <a:t>The</a:t>
            </a:r>
            <a:r>
              <a:rPr lang="en-GB" sz="1600" b="0" i="0" dirty="0">
                <a:solidFill>
                  <a:srgbClr val="111111"/>
                </a:solidFill>
                <a:effectLst/>
                <a:latin typeface="+mj-lt"/>
              </a:rPr>
              <a:t> key learning is that Scrum promotes teamwork, adaptability, and continuous improvement through regular feedback and iterations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+mj-lt"/>
              </a:rPr>
              <a:t>Key Takeaway: </a:t>
            </a:r>
            <a:r>
              <a:rPr lang="en-GB" sz="1600" b="0" i="0" dirty="0">
                <a:solidFill>
                  <a:srgbClr val="111111"/>
                </a:solidFill>
                <a:effectLst/>
                <a:latin typeface="+mj-lt"/>
              </a:rPr>
              <a:t>Using Scrum can enhance project efficiency and team collaboration.</a:t>
            </a:r>
          </a:p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+mj-lt"/>
              </a:rPr>
              <a:t>In the Energy sector, Scrum can be used to manage projects more effectively, ensuring timely delivery and adaptability to changing requirement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050" name="Picture 2" descr="Agile methodology scrum - maqplans">
            <a:extLst>
              <a:ext uri="{FF2B5EF4-FFF2-40B4-BE49-F238E27FC236}">
                <a16:creationId xmlns:a16="http://schemas.microsoft.com/office/drawing/2014/main" id="{3D445668-73EE-845F-3824-3A06FF0C33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2666" y="2380892"/>
            <a:ext cx="5086972" cy="2822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Waterfall method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-apple-system"/>
              </a:rPr>
              <a:t>The Waterfall method is a linear project management approach where each phase must be completed before the next one begins. It involves distinct stages such as requirements, design, implementation, testing, and maintenance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-apple-system"/>
              </a:rPr>
              <a:t>Key Learning:</a:t>
            </a:r>
            <a:endParaRPr lang="en-GB" sz="1600" b="0" i="0" dirty="0">
              <a:solidFill>
                <a:srgbClr val="111111"/>
              </a:solidFill>
              <a:effectLst/>
              <a:latin typeface="-apple-system"/>
            </a:endParaRPr>
          </a:p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-apple-system"/>
              </a:rPr>
              <a:t>The key learning is that the Waterfall method provides a structured and sequential approach, which is beneficial for projects with well-defined requirements and clear objectives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-apple-system"/>
              </a:rPr>
              <a:t>Key Takeaway:</a:t>
            </a:r>
            <a:endParaRPr lang="en-GB" sz="1600" b="0" i="0" dirty="0">
              <a:solidFill>
                <a:srgbClr val="111111"/>
              </a:solidFill>
              <a:effectLst/>
              <a:latin typeface="-apple-system"/>
            </a:endParaRPr>
          </a:p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-apple-system"/>
              </a:rPr>
              <a:t>Using the Waterfall method ensures thorough documentation and a clear project timeline, which can help in managing expectations and deliverables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-apple-system"/>
              </a:rPr>
              <a:t>How I Personally See This Concept Implemented in the Energy Sector:</a:t>
            </a:r>
            <a:endParaRPr lang="en-GB" sz="1600" b="0" i="0" dirty="0">
              <a:solidFill>
                <a:srgbClr val="111111"/>
              </a:solidFill>
              <a:effectLst/>
              <a:latin typeface="-apple-system"/>
            </a:endParaRPr>
          </a:p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-apple-system"/>
              </a:rPr>
              <a:t>In the Energy sector, the Waterfall method can be used for projects with fixed requests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5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3074" name="Picture 2" descr="A Comprehensive Guide to Waterfall Methodology in Project Management ...">
            <a:extLst>
              <a:ext uri="{FF2B5EF4-FFF2-40B4-BE49-F238E27FC236}">
                <a16:creationId xmlns:a16="http://schemas.microsoft.com/office/drawing/2014/main" id="{D94C78DD-5E18-A1B3-FC3E-87A36051FF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727" y="2208425"/>
            <a:ext cx="4514850" cy="338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06</TotalTime>
  <Words>340</Words>
  <Application>Microsoft Office PowerPoint</Application>
  <PresentationFormat>Widescreen</PresentationFormat>
  <Paragraphs>26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Learning 1 | Business Analysis</vt:lpstr>
      <vt:lpstr>Learning 2 | SCRUM </vt:lpstr>
      <vt:lpstr>Learning 3 | Waterfall metho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Tonger, Avni SBOBNG-PTIV/LE</cp:lastModifiedBy>
  <cp:revision>502</cp:revision>
  <dcterms:created xsi:type="dcterms:W3CDTF">2022-01-18T12:35:56Z</dcterms:created>
  <dcterms:modified xsi:type="dcterms:W3CDTF">2024-09-02T10:3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